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sldIdLst>
    <p:sldId id="257" r:id="rId2"/>
  </p:sldIdLst>
  <p:sldSz cx="12192000" cy="6858000"/>
  <p:notesSz cx="6858000" cy="9144000"/>
  <p:custDataLst>
    <p:tags r:id="rId4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9018" autoAdjust="0"/>
    <p:restoredTop sz="94660"/>
  </p:normalViewPr>
  <p:slideViewPr>
    <p:cSldViewPr snapToGrid="0">
      <p:cViewPr varScale="1">
        <p:scale>
          <a:sx n="115" d="100"/>
          <a:sy n="115" d="100"/>
        </p:scale>
        <p:origin x="120" y="52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notesMaster" Target="notesMasters/notesMaster1.xml"/><Relationship Id="rId7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4" Type="http://schemas.openxmlformats.org/officeDocument/2006/relationships/tags" Target="tags/tag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CD7ACA0-A075-45CB-8849-A457250BF65B}" type="datetimeFigureOut">
              <a:rPr lang="en-US" smtClean="0"/>
              <a:t>1/15/2016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C2A9FC3-1CF3-4BF3-98CC-CCA4FF1CB8E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5576312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C2A9FC3-1CF3-4BF3-98CC-CCA4FF1CB8EE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0878759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0D382C-F5DD-4D88-BE9C-9F94EAAEE7E9}" type="datetime2">
              <a:rPr lang="en-US" smtClean="0"/>
              <a:t>Friday, January 15, 201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dfsdgdfgdgd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782A54-0AB3-42F9-B5BF-957548BC4F1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0701798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8104E7D-941D-4FA2-A87C-CD5CA7FC78D8}" type="datetime2">
              <a:rPr lang="en-US" smtClean="0"/>
              <a:t>Friday, January 15, 201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dfsdgdfgdgd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782A54-0AB3-42F9-B5BF-957548BC4F1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4838267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DD7863C-6D65-45C2-984A-319681206A87}" type="datetime2">
              <a:rPr lang="en-US" smtClean="0"/>
              <a:t>Friday, January 15, 201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dfsdgdfgdgd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782A54-0AB3-42F9-B5BF-957548BC4F1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7698496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35D9681-BA37-4CC6-93AF-B4EB5BC5FF4F}" type="datetime2">
              <a:rPr lang="en-US" smtClean="0"/>
              <a:t>Friday, January 15, 201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dfsdgdfgdgd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782A54-0AB3-42F9-B5BF-957548BC4F1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2886585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599174A-2E5B-4891-8A9F-689641DB91FE}" type="datetime2">
              <a:rPr lang="en-US" smtClean="0"/>
              <a:t>Friday, January 15, 201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dfsdgdfgdgd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782A54-0AB3-42F9-B5BF-957548BC4F1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6114866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C7302E7-B02E-4DA7-886B-128101530639}" type="datetime2">
              <a:rPr lang="en-US" smtClean="0"/>
              <a:t>Friday, January 15, 2016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dfsdgdfgdgd</a:t>
            </a: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782A54-0AB3-42F9-B5BF-957548BC4F1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2589104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C2DF6CD-090D-4C8E-A32C-AAD72CC547D1}" type="datetime2">
              <a:rPr lang="en-US" smtClean="0"/>
              <a:t>Friday, January 15, 2016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dfsdgdfgdgd</a:t>
            </a:r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782A54-0AB3-42F9-B5BF-957548BC4F1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5088364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CD86DA4-1141-45E3-B8E6-563257316731}" type="datetime2">
              <a:rPr lang="en-US" smtClean="0"/>
              <a:t>Friday, January 15, 2016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dfsdgdfgdgd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782A54-0AB3-42F9-B5BF-957548BC4F1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5078013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27EDD4C-CC18-46EA-9C8A-4513ACC4B2C7}" type="datetime2">
              <a:rPr lang="en-US" smtClean="0"/>
              <a:t>Friday, January 15, 2016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dfsdgdfgdgd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782A54-0AB3-42F9-B5BF-957548BC4F1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5186631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2F77FB-C27B-4BC1-AFAF-0676C1F4F97D}" type="datetime2">
              <a:rPr lang="en-US" smtClean="0"/>
              <a:t>Friday, January 15, 2016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dfsdgdfgdgd</a:t>
            </a: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782A54-0AB3-42F9-B5BF-957548BC4F1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4447913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8411F9-00CE-4166-9F2D-B01D829CD209}" type="datetime2">
              <a:rPr lang="en-US" smtClean="0"/>
              <a:t>Friday, January 15, 2016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dfsdgdfgdgd</a:t>
            </a: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7782A54-0AB3-42F9-B5BF-957548BC4F1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1455818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91613594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1" name="think-cell Slide" r:id="rId15" imgW="270" imgH="270" progId="TCLayout.ActiveDocument.1">
                  <p:embed/>
                </p:oleObj>
              </mc:Choice>
              <mc:Fallback>
                <p:oleObj name="think-cell Slide" r:id="rId1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C57CB2D-FF6C-4B0B-9E77-6A0FE5FBFCCD}" type="datetime2">
              <a:rPr lang="en-US" smtClean="0"/>
              <a:t>Friday, January 15, 201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smtClean="0"/>
              <a:t>dfsdgdfgdgd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7782A54-0AB3-42F9-B5BF-957548BC4F1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196299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hf sldNum="0" hdr="0" ft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tags" Target="../tags/tag9.xml"/><Relationship Id="rId13" Type="http://schemas.openxmlformats.org/officeDocument/2006/relationships/tags" Target="../tags/tag14.xml"/><Relationship Id="rId18" Type="http://schemas.openxmlformats.org/officeDocument/2006/relationships/oleObject" Target="../embeddings/oleObject3.bin"/><Relationship Id="rId3" Type="http://schemas.openxmlformats.org/officeDocument/2006/relationships/tags" Target="../tags/tag4.xml"/><Relationship Id="rId21" Type="http://schemas.openxmlformats.org/officeDocument/2006/relationships/image" Target="../media/image4.png"/><Relationship Id="rId7" Type="http://schemas.openxmlformats.org/officeDocument/2006/relationships/tags" Target="../tags/tag8.xml"/><Relationship Id="rId12" Type="http://schemas.openxmlformats.org/officeDocument/2006/relationships/tags" Target="../tags/tag13.xml"/><Relationship Id="rId17" Type="http://schemas.openxmlformats.org/officeDocument/2006/relationships/image" Target="../media/image1.emf"/><Relationship Id="rId2" Type="http://schemas.openxmlformats.org/officeDocument/2006/relationships/tags" Target="../tags/tag3.xml"/><Relationship Id="rId16" Type="http://schemas.openxmlformats.org/officeDocument/2006/relationships/oleObject" Target="../embeddings/oleObject2.bin"/><Relationship Id="rId20" Type="http://schemas.openxmlformats.org/officeDocument/2006/relationships/image" Target="../media/image3.png"/><Relationship Id="rId1" Type="http://schemas.openxmlformats.org/officeDocument/2006/relationships/vmlDrawing" Target="../drawings/vmlDrawing2.vml"/><Relationship Id="rId6" Type="http://schemas.openxmlformats.org/officeDocument/2006/relationships/tags" Target="../tags/tag7.xml"/><Relationship Id="rId11" Type="http://schemas.openxmlformats.org/officeDocument/2006/relationships/tags" Target="../tags/tag12.xml"/><Relationship Id="rId5" Type="http://schemas.openxmlformats.org/officeDocument/2006/relationships/tags" Target="../tags/tag6.xml"/><Relationship Id="rId15" Type="http://schemas.openxmlformats.org/officeDocument/2006/relationships/notesSlide" Target="../notesSlides/notesSlide1.xml"/><Relationship Id="rId10" Type="http://schemas.openxmlformats.org/officeDocument/2006/relationships/tags" Target="../tags/tag11.xml"/><Relationship Id="rId19" Type="http://schemas.openxmlformats.org/officeDocument/2006/relationships/image" Target="../media/image2.emf"/><Relationship Id="rId4" Type="http://schemas.openxmlformats.org/officeDocument/2006/relationships/tags" Target="../tags/tag5.xml"/><Relationship Id="rId9" Type="http://schemas.openxmlformats.org/officeDocument/2006/relationships/tags" Target="../tags/tag10.xml"/><Relationship Id="rId14" Type="http://schemas.openxmlformats.org/officeDocument/2006/relationships/slideLayout" Target="../slideLayouts/slideLayout2.xml"/><Relationship Id="rId22" Type="http://schemas.openxmlformats.org/officeDocument/2006/relationships/image" Target="../media/image5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5297357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0" name="think-cell Slide" r:id="rId16" imgW="270" imgH="270" progId="TCLayout.ActiveDocument.1">
                  <p:embed/>
                </p:oleObj>
              </mc:Choice>
              <mc:Fallback>
                <p:oleObj name="think-cell Slide" r:id="rId1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400" dirty="0"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graphicFrame>
        <p:nvGraphicFramePr>
          <p:cNvPr id="4" name="Object 3"/>
          <p:cNvGraphicFramePr>
            <a:graphicFrameLocks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092729687"/>
              </p:ext>
            </p:extLst>
          </p:nvPr>
        </p:nvGraphicFramePr>
        <p:xfrm>
          <a:off x="3429000" y="952500"/>
          <a:ext cx="2905017" cy="275265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1" name="Chart" r:id="rId18" imgW="2905017" imgH="2752657" progId="MSGraph.Chart.8">
                  <p:embed followColorScheme="full"/>
                </p:oleObj>
              </mc:Choice>
              <mc:Fallback>
                <p:oleObj name="Chart" r:id="rId18" imgW="2905017" imgH="2752657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3429000" y="952500"/>
                        <a:ext cx="2905017" cy="275265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 Placeholder 2"/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4699000" y="3703638"/>
            <a:ext cx="37465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1EDB3D51-7E6A-4358-B923-74874787C1E9}" type="datetime'''''''''''2''01''''''''''2'''''''''''''''''''''''''''''">
              <a:rPr lang="en-US" altLang="en-US" sz="1400">
                <a:sym typeface="+mn-lt"/>
              </a:rPr>
              <a:pPr marL="0" indent="0" algn="ctr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2012</a:t>
            </a:fld>
            <a:endParaRPr lang="en-US" sz="1400" dirty="0">
              <a:sym typeface="+mn-lt"/>
            </a:endParaRPr>
          </a:p>
        </p:txBody>
      </p:sp>
      <p:sp>
        <p:nvSpPr>
          <p:cNvPr id="8" name="Text Placeholder 2"/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5589588" y="3703638"/>
            <a:ext cx="37465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6D374EE8-6753-4CEB-9D8F-965BB96BAC1A}" type="datetime'''''''2''''''''''''''0''''''''''''''''''''''''''1''3'''''''''">
              <a:rPr lang="en-US" altLang="en-US" sz="1400">
                <a:sym typeface="+mn-lt"/>
              </a:rPr>
              <a:pPr marL="0" indent="0" algn="ctr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2013</a:t>
            </a:fld>
            <a:endParaRPr lang="en-US" sz="1400" dirty="0">
              <a:sym typeface="+mn-lt"/>
            </a:endParaRPr>
          </a:p>
        </p:txBody>
      </p:sp>
      <p:sp>
        <p:nvSpPr>
          <p:cNvPr id="12" name="Text Placeholder 2"/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3879850" y="2190750"/>
            <a:ext cx="231775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65513609-A37E-46B4-A1EF-8E7666ED8929}" type="datetime'''''''''''''''''''''''22'''''''''''''''''''''''''''''">
              <a:rPr lang="en-US" altLang="en-US" sz="1400">
                <a:sym typeface="+mn-lt"/>
              </a:rPr>
              <a:pPr marL="0" indent="0" algn="ctr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22</a:t>
            </a:fld>
            <a:endParaRPr lang="en-US" sz="1400" dirty="0">
              <a:sym typeface="+mn-lt"/>
            </a:endParaRPr>
          </a:p>
        </p:txBody>
      </p:sp>
      <p:sp>
        <p:nvSpPr>
          <p:cNvPr id="11" name="Text Placeholder 2"/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3168650" y="3141663"/>
            <a:ext cx="43180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B54A738C-014A-4279-ACDB-07031476EE80}" type="datetime'''''''''''''S''''e''r''''''''''''ie''s'''''''''''''''''''''">
              <a:rPr lang="en-US" altLang="en-US" sz="1400">
                <a:sym typeface="+mn-lt"/>
              </a:rPr>
              <a:pPr marL="0" indent="0" algn="r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Series</a:t>
            </a:fld>
            <a:endParaRPr lang="en-US" sz="1400" dirty="0">
              <a:sym typeface="+mn-lt"/>
            </a:endParaRPr>
          </a:p>
        </p:txBody>
      </p:sp>
      <p:sp>
        <p:nvSpPr>
          <p:cNvPr id="10" name="Text Placeholder 2"/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3168650" y="2667000"/>
            <a:ext cx="43180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478C57BC-29F7-4B9B-806E-B2514DB6DF20}" type="datetime'''''''''''S''e''r''''ie''''''''''s'''''''''''''">
              <a:rPr lang="en-US" altLang="en-US" sz="1400">
                <a:sym typeface="+mn-lt"/>
              </a:rPr>
              <a:pPr marL="0" indent="0" algn="r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Series</a:t>
            </a:fld>
            <a:endParaRPr lang="en-US" sz="1400" dirty="0">
              <a:sym typeface="+mn-lt"/>
            </a:endParaRPr>
          </a:p>
        </p:txBody>
      </p:sp>
      <p:sp>
        <p:nvSpPr>
          <p:cNvPr id="9" name="Text Placeholder 2"/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3168650" y="2403475"/>
            <a:ext cx="43180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5D5AF985-C269-4AC5-A8D0-0E0CAAD1CE48}" type="datetime'''S''''''''''''''''e''''''r''''''''''''''i''''e''s'''''">
              <a:rPr lang="en-US" altLang="en-US" sz="1400">
                <a:sym typeface="+mn-lt"/>
              </a:rPr>
              <a:pPr marL="0" indent="0" algn="r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Series</a:t>
            </a:fld>
            <a:endParaRPr lang="en-US" sz="1400" dirty="0">
              <a:sym typeface="+mn-lt"/>
            </a:endParaRPr>
          </a:p>
        </p:txBody>
      </p:sp>
      <p:sp>
        <p:nvSpPr>
          <p:cNvPr id="13" name="Text Placeholder 2"/>
          <p:cNvSpPr>
            <a:spLocks noGrp="1"/>
          </p:cNvSpPr>
          <p:nvPr>
            <p:custDataLst>
              <p:tags r:id="rId11"/>
            </p:custDataLst>
          </p:nvPr>
        </p:nvSpPr>
        <p:spPr bwMode="gray">
          <a:xfrm>
            <a:off x="4770438" y="1676400"/>
            <a:ext cx="231775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0786E52D-03E5-4A2A-8D66-DC753E2196DC}" type="datetime'''''''''''''''''''''''''''''3''''''''''''''''''''''''1'">
              <a:rPr lang="en-US" altLang="en-US" sz="1400">
                <a:sym typeface="+mn-lt"/>
              </a:rPr>
              <a:pPr marL="0" indent="0" algn="ctr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31</a:t>
            </a:fld>
            <a:endParaRPr lang="en-US" sz="1400" dirty="0">
              <a:sym typeface="+mn-lt"/>
            </a:endParaRPr>
          </a:p>
        </p:txBody>
      </p:sp>
      <p:sp>
        <p:nvSpPr>
          <p:cNvPr id="14" name="Text Placeholder 2"/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5661025" y="838200"/>
            <a:ext cx="231775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03DD76AA-8A71-4241-947B-43007D3D328E}" type="datetime'''''''''''4''6'''''''''''''''''''''''''''">
              <a:rPr lang="en-US" altLang="en-US" sz="1400">
                <a:sym typeface="+mn-lt"/>
              </a:rPr>
              <a:pPr marL="0" indent="0" algn="ctr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46</a:t>
            </a:fld>
            <a:endParaRPr lang="en-US" sz="1400" dirty="0">
              <a:sym typeface="+mn-lt"/>
            </a:endParaRPr>
          </a:p>
        </p:txBody>
      </p:sp>
      <p:sp>
        <p:nvSpPr>
          <p:cNvPr id="5" name="Text Placeholder 2"/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3808413" y="3703638"/>
            <a:ext cx="37465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9C7E8D53-9559-483F-9F45-58FF6F5242C2}" type="datetime'''''''2''''''0''''''''''''''''''1''''''''1'''''''''''''''''''">
              <a:rPr lang="en-US" altLang="en-US" sz="1400">
                <a:sym typeface="+mn-lt"/>
              </a:rPr>
              <a:pPr marL="0" indent="0" algn="ctr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t>2011</a:t>
            </a:fld>
            <a:endParaRPr lang="en-US" sz="1400" dirty="0">
              <a:sym typeface="+mn-lt"/>
            </a:endParaRPr>
          </a:p>
        </p:txBody>
      </p:sp>
      <p:pic>
        <p:nvPicPr>
          <p:cNvPr id="16" name="Picture 15"/>
          <p:cNvPicPr>
            <a:picLocks noChangeAspect="1"/>
          </p:cNvPicPr>
          <p:nvPr/>
        </p:nvPicPr>
        <p:blipFill>
          <a:blip r:embed="rId20"/>
          <a:stretch>
            <a:fillRect/>
          </a:stretch>
        </p:blipFill>
        <p:spPr>
          <a:xfrm>
            <a:off x="7462577" y="668338"/>
            <a:ext cx="3455929" cy="3364765"/>
          </a:xfrm>
          <a:prstGeom prst="rect">
            <a:avLst/>
          </a:prstGeom>
          <a:ln>
            <a:solidFill>
              <a:schemeClr val="accent2"/>
            </a:solidFill>
          </a:ln>
        </p:spPr>
      </p:pic>
      <p:sp>
        <p:nvSpPr>
          <p:cNvPr id="17" name="TextBox 16"/>
          <p:cNvSpPr txBox="1"/>
          <p:nvPr/>
        </p:nvSpPr>
        <p:spPr>
          <a:xfrm>
            <a:off x="3067396" y="298450"/>
            <a:ext cx="216315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smtClean="0">
                <a:solidFill>
                  <a:schemeClr val="accent2"/>
                </a:solidFill>
              </a:rPr>
              <a:t>Chart from think-cell</a:t>
            </a:r>
            <a:endParaRPr lang="en-US" b="1">
              <a:solidFill>
                <a:schemeClr val="accent2"/>
              </a:solidFill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7431578" y="298450"/>
            <a:ext cx="343562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smtClean="0">
                <a:solidFill>
                  <a:schemeClr val="accent2"/>
                </a:solidFill>
              </a:rPr>
              <a:t>Screenshot of chart in PowerPoint</a:t>
            </a:r>
            <a:endParaRPr lang="en-US" b="1">
              <a:solidFill>
                <a:schemeClr val="accent2"/>
              </a:solidFill>
            </a:endParaRPr>
          </a:p>
        </p:txBody>
      </p:sp>
      <p:sp>
        <p:nvSpPr>
          <p:cNvPr id="20" name="Date Placeholder 19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BBA9BCD-880A-42BA-A7D4-FBF5FF8AD756}" type="datetime2">
              <a:rPr lang="en-US" smtClean="0"/>
              <a:t>Friday, January 15, 2016</a:t>
            </a:fld>
            <a:endParaRPr lang="en-US"/>
          </a:p>
        </p:txBody>
      </p:sp>
      <p:pic>
        <p:nvPicPr>
          <p:cNvPr id="22" name="Picture 21"/>
          <p:cNvPicPr>
            <a:picLocks noChangeAspect="1"/>
          </p:cNvPicPr>
          <p:nvPr/>
        </p:nvPicPr>
        <p:blipFill rotWithShape="1">
          <a:blip r:embed="rId21"/>
          <a:srcRect r="46020" b="44683"/>
          <a:stretch/>
        </p:blipFill>
        <p:spPr>
          <a:xfrm>
            <a:off x="2999622" y="5159394"/>
            <a:ext cx="2366881" cy="1563866"/>
          </a:xfrm>
          <a:prstGeom prst="rect">
            <a:avLst/>
          </a:prstGeom>
        </p:spPr>
      </p:pic>
      <p:sp>
        <p:nvSpPr>
          <p:cNvPr id="21" name="TextBox 20"/>
          <p:cNvSpPr txBox="1"/>
          <p:nvPr/>
        </p:nvSpPr>
        <p:spPr>
          <a:xfrm>
            <a:off x="91441" y="4559229"/>
            <a:ext cx="2841565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smtClean="0">
                <a:solidFill>
                  <a:schemeClr val="accent2"/>
                </a:solidFill>
              </a:rPr>
              <a:t>PowerPoint’s date footer created with PowerPoint &gt; Insert &gt; Text &gt; Header and Footer </a:t>
            </a:r>
            <a:endParaRPr lang="en-US" b="1">
              <a:solidFill>
                <a:schemeClr val="accent2"/>
              </a:solidFill>
            </a:endParaRPr>
          </a:p>
        </p:txBody>
      </p:sp>
      <p:cxnSp>
        <p:nvCxnSpPr>
          <p:cNvPr id="24" name="Straight Arrow Connector 23"/>
          <p:cNvCxnSpPr/>
          <p:nvPr/>
        </p:nvCxnSpPr>
        <p:spPr>
          <a:xfrm flipH="1">
            <a:off x="1587038" y="5759558"/>
            <a:ext cx="1" cy="596792"/>
          </a:xfrm>
          <a:prstGeom prst="straightConnector1">
            <a:avLst/>
          </a:prstGeom>
          <a:ln w="28575"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Box 27"/>
          <p:cNvSpPr txBox="1"/>
          <p:nvPr/>
        </p:nvSpPr>
        <p:spPr>
          <a:xfrm>
            <a:off x="2935347" y="4559229"/>
            <a:ext cx="284156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smtClean="0">
                <a:solidFill>
                  <a:schemeClr val="accent2"/>
                </a:solidFill>
              </a:rPr>
              <a:t>Screenshot of PowerPoint’s Header and Footer settings</a:t>
            </a:r>
            <a:endParaRPr lang="en-US" b="1">
              <a:solidFill>
                <a:schemeClr val="accent2"/>
              </a:solidFill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5892800" y="4559229"/>
            <a:ext cx="284156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smtClean="0">
                <a:solidFill>
                  <a:schemeClr val="accent2"/>
                </a:solidFill>
              </a:rPr>
              <a:t>Screenshot of date footer in PowerPoint</a:t>
            </a:r>
            <a:endParaRPr lang="en-US" b="1">
              <a:solidFill>
                <a:schemeClr val="accent2"/>
              </a:solidFill>
            </a:endParaRPr>
          </a:p>
        </p:txBody>
      </p:sp>
      <p:pic>
        <p:nvPicPr>
          <p:cNvPr id="30" name="Picture 29"/>
          <p:cNvPicPr>
            <a:picLocks noChangeAspect="1"/>
          </p:cNvPicPr>
          <p:nvPr/>
        </p:nvPicPr>
        <p:blipFill>
          <a:blip r:embed="rId22"/>
          <a:stretch>
            <a:fillRect/>
          </a:stretch>
        </p:blipFill>
        <p:spPr>
          <a:xfrm>
            <a:off x="5892800" y="6159552"/>
            <a:ext cx="2171429" cy="409524"/>
          </a:xfrm>
          <a:prstGeom prst="rect">
            <a:avLst/>
          </a:prstGeom>
          <a:ln>
            <a:solidFill>
              <a:schemeClr val="accent2"/>
            </a:solidFill>
          </a:ln>
        </p:spPr>
      </p:pic>
      <p:cxnSp>
        <p:nvCxnSpPr>
          <p:cNvPr id="32" name="Straight Connector 31"/>
          <p:cNvCxnSpPr/>
          <p:nvPr/>
        </p:nvCxnSpPr>
        <p:spPr>
          <a:xfrm>
            <a:off x="274320" y="4281055"/>
            <a:ext cx="11463251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Arrow Connector 32"/>
          <p:cNvCxnSpPr/>
          <p:nvPr/>
        </p:nvCxnSpPr>
        <p:spPr>
          <a:xfrm flipH="1">
            <a:off x="6986134" y="5344535"/>
            <a:ext cx="1" cy="596792"/>
          </a:xfrm>
          <a:prstGeom prst="straightConnector1">
            <a:avLst/>
          </a:prstGeom>
          <a:ln w="28575"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1698030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4146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69HAkC0T_C5dKUgP.Ohu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L5HIb0UT0GirO5UjEqK_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L0hepA2TlqK.2tht5uzf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_UWXFQ5QSS_Ao6bXG4sX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YFDKLbPTBSZp6RJ4paJM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.6M1yFFSmGLmHAaKxDHx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pC.knQWQrKijrs5lTY5e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mVS6Q.QT321oOrTeDRZ1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oVZe33CQHWW7YhkdLRx2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_MLbbbES0iR_aE3MNDhG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Tcdv3sQQTm6hgscxn8KsQ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46</Words>
  <Application>Microsoft Office PowerPoint</Application>
  <PresentationFormat>Widescreen</PresentationFormat>
  <Paragraphs>16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Arial</vt:lpstr>
      <vt:lpstr>Calibri</vt:lpstr>
      <vt:lpstr>Calibri Light</vt:lpstr>
      <vt:lpstr>Office Theme</vt:lpstr>
      <vt:lpstr>think-cell Slide</vt:lpstr>
      <vt:lpstr>Chart</vt:lpstr>
      <vt:lpstr>PowerPoint Presentation</vt:lpstr>
    </vt:vector>
  </TitlesOfParts>
  <Company>think-cell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ario Vukelic</dc:creator>
  <cp:lastModifiedBy>Mario Vukelic</cp:lastModifiedBy>
  <cp:revision>6</cp:revision>
  <dcterms:created xsi:type="dcterms:W3CDTF">2016-01-15T10:11:28Z</dcterms:created>
  <dcterms:modified xsi:type="dcterms:W3CDTF">2016-01-15T13:11:19Z</dcterms:modified>
</cp:coreProperties>
</file>